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91" r:id="rId12"/>
  </p:sldMasterIdLst>
  <p:notesMasterIdLst>
    <p:notesMasterId r:id="rId19"/>
  </p:notesMasterIdLst>
  <p:handoutMasterIdLst>
    <p:handoutMasterId r:id="rId20"/>
  </p:handoutMasterIdLst>
  <p:sldIdLst>
    <p:sldId id="256" r:id="rId13"/>
    <p:sldId id="257" r:id="rId14"/>
    <p:sldId id="259" r:id="rId15"/>
    <p:sldId id="260" r:id="rId16"/>
    <p:sldId id="261" r:id="rId17"/>
    <p:sldId id="258" r:id="rId18"/>
  </p:sldIdLst>
  <p:sldSz cx="9144000" cy="5143500" type="screen16x9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uze, Juul" initials="DJ" lastIdx="18" clrIdx="0">
    <p:extLst>
      <p:ext uri="{19B8F6BF-5375-455C-9EA6-DF929625EA0E}">
        <p15:presenceInfo xmlns:p15="http://schemas.microsoft.com/office/powerpoint/2012/main" userId="S-1-5-21-2052111302-790525478-839522115-89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9A91"/>
    <a:srgbClr val="0077CC"/>
    <a:srgbClr val="8345BA"/>
    <a:srgbClr val="D10077"/>
    <a:srgbClr val="DE7C00"/>
    <a:srgbClr val="15973A"/>
    <a:srgbClr val="9AD7F9"/>
    <a:srgbClr val="00A8EB"/>
    <a:srgbClr val="00629F"/>
    <a:srgbClr val="0032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44D4EB-8853-4DD5-AC7D-DD9B1683BB54}" v="22" dt="2023-11-14T08:34:27.53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27" autoAdjust="0"/>
  </p:normalViewPr>
  <p:slideViewPr>
    <p:cSldViewPr>
      <p:cViewPr varScale="1">
        <p:scale>
          <a:sx n="88" d="100"/>
          <a:sy n="88" d="100"/>
        </p:scale>
        <p:origin x="684" y="64"/>
      </p:cViewPr>
      <p:guideLst/>
    </p:cSldViewPr>
  </p:slideViewPr>
  <p:outlineViewPr>
    <p:cViewPr>
      <p:scale>
        <a:sx n="33" d="100"/>
        <a:sy n="33" d="100"/>
      </p:scale>
      <p:origin x="0" y="-268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25" d="100"/>
        <a:sy n="125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375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slide" Target="slides/slide5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customXml" Target="../customXml/item10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2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harova, Anna" userId="30e744ff-b33d-4a6d-97a1-17fa49df0bae" providerId="ADAL" clId="{1C44D4EB-8853-4DD5-AC7D-DD9B1683BB54}"/>
    <pc:docChg chg="modSld">
      <pc:chgData name="Zharova, Anna" userId="30e744ff-b33d-4a6d-97a1-17fa49df0bae" providerId="ADAL" clId="{1C44D4EB-8853-4DD5-AC7D-DD9B1683BB54}" dt="2023-11-14T08:34:27.532" v="21"/>
      <pc:docMkLst>
        <pc:docMk/>
      </pc:docMkLst>
      <pc:sldChg chg="modSp mod">
        <pc:chgData name="Zharova, Anna" userId="30e744ff-b33d-4a6d-97a1-17fa49df0bae" providerId="ADAL" clId="{1C44D4EB-8853-4DD5-AC7D-DD9B1683BB54}" dt="2023-11-14T08:32:56.812" v="6" actId="20577"/>
        <pc:sldMkLst>
          <pc:docMk/>
          <pc:sldMk cId="760090205" sldId="256"/>
        </pc:sldMkLst>
        <pc:spChg chg="mod">
          <ac:chgData name="Zharova, Anna" userId="30e744ff-b33d-4a6d-97a1-17fa49df0bae" providerId="ADAL" clId="{1C44D4EB-8853-4DD5-AC7D-DD9B1683BB54}" dt="2023-11-14T08:32:56.812" v="6" actId="20577"/>
          <ac:spMkLst>
            <pc:docMk/>
            <pc:sldMk cId="760090205" sldId="256"/>
            <ac:spMk id="11" creationId="{67F0099C-FF09-E2A8-4233-FD11F0251DFE}"/>
          </ac:spMkLst>
        </pc:spChg>
      </pc:sldChg>
      <pc:sldChg chg="modSp modAnim">
        <pc:chgData name="Zharova, Anna" userId="30e744ff-b33d-4a6d-97a1-17fa49df0bae" providerId="ADAL" clId="{1C44D4EB-8853-4DD5-AC7D-DD9B1683BB54}" dt="2023-11-14T08:34:27.532" v="21"/>
        <pc:sldMkLst>
          <pc:docMk/>
          <pc:sldMk cId="2667363435" sldId="257"/>
        </pc:sldMkLst>
        <pc:graphicFrameChg chg="mod">
          <ac:chgData name="Zharova, Anna" userId="30e744ff-b33d-4a6d-97a1-17fa49df0bae" providerId="ADAL" clId="{1C44D4EB-8853-4DD5-AC7D-DD9B1683BB54}" dt="2023-11-14T08:34:22.660" v="20"/>
          <ac:graphicFrameMkLst>
            <pc:docMk/>
            <pc:sldMk cId="2667363435" sldId="257"/>
            <ac:graphicFrameMk id="10" creationId="{32835D46-A791-7480-AD76-10E28E8A2510}"/>
          </ac:graphicFrameMkLst>
        </pc:graphicFrameChg>
      </pc:sldChg>
      <pc:sldChg chg="modSp">
        <pc:chgData name="Zharova, Anna" userId="30e744ff-b33d-4a6d-97a1-17fa49df0bae" providerId="ADAL" clId="{1C44D4EB-8853-4DD5-AC7D-DD9B1683BB54}" dt="2023-11-14T08:23:47.133" v="5"/>
        <pc:sldMkLst>
          <pc:docMk/>
          <pc:sldMk cId="531349239" sldId="261"/>
        </pc:sldMkLst>
        <pc:graphicFrameChg chg="mod">
          <ac:chgData name="Zharova, Anna" userId="30e744ff-b33d-4a6d-97a1-17fa49df0bae" providerId="ADAL" clId="{1C44D4EB-8853-4DD5-AC7D-DD9B1683BB54}" dt="2023-11-14T08:23:47.133" v="5"/>
          <ac:graphicFrameMkLst>
            <pc:docMk/>
            <pc:sldMk cId="531349239" sldId="261"/>
            <ac:graphicFrameMk id="9" creationId="{6F4B44DA-5274-EB64-1FFE-491E5673C2EC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uk-UA" dirty="0">
                <a:solidFill>
                  <a:schemeClr val="tx1"/>
                </a:solidFill>
              </a:rPr>
              <a:t>Професійні</a:t>
            </a:r>
            <a:r>
              <a:rPr lang="uk-UA" baseline="0" dirty="0">
                <a:solidFill>
                  <a:schemeClr val="tx1"/>
                </a:solidFill>
              </a:rPr>
              <a:t> виклики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>
                  <a:shade val="58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8EF-4F75-B68D-3D2E067E8780}"/>
              </c:ext>
            </c:extLst>
          </c:dPt>
          <c:dPt>
            <c:idx val="1"/>
            <c:bubble3D val="0"/>
            <c:spPr>
              <a:solidFill>
                <a:schemeClr val="accent1">
                  <a:shade val="86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78EF-4F75-B68D-3D2E067E8780}"/>
              </c:ext>
            </c:extLst>
          </c:dPt>
          <c:dPt>
            <c:idx val="2"/>
            <c:bubble3D val="0"/>
            <c:spPr>
              <a:solidFill>
                <a:schemeClr val="accent1">
                  <a:tint val="86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78EF-4F75-B68D-3D2E067E8780}"/>
              </c:ext>
            </c:extLst>
          </c:dPt>
          <c:dPt>
            <c:idx val="3"/>
            <c:bubble3D val="0"/>
            <c:spPr>
              <a:solidFill>
                <a:schemeClr val="accent1">
                  <a:tint val="58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78EF-4F75-B68D-3D2E067E8780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Нові правові механізми</c:v>
                </c:pt>
                <c:pt idx="1">
                  <c:v>Нові галузі права</c:v>
                </c:pt>
                <c:pt idx="2">
                  <c:v>Імплементація технологій</c:v>
                </c:pt>
                <c:pt idx="3">
                  <c:v>Соцмережі і конкурентне законодавство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.5</c:v>
                </c:pt>
                <c:pt idx="1">
                  <c:v>1.4</c:v>
                </c:pt>
                <c:pt idx="2">
                  <c:v>1</c:v>
                </c:pt>
                <c:pt idx="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92-4AE0-A54D-6B24A9D59338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uk-UA" dirty="0">
                <a:solidFill>
                  <a:schemeClr val="tx1"/>
                </a:solidFill>
              </a:rPr>
              <a:t>Персональні виклики</a:t>
            </a:r>
          </a:p>
        </c:rich>
      </c:tx>
      <c:layout>
        <c:manualLayout>
          <c:xMode val="edge"/>
          <c:yMode val="edge"/>
          <c:x val="0.30527008201165112"/>
          <c:y val="1.651007732219545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Персональні виклики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shade val="6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C4AB-440C-AD59-273AE57FFFD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C4AB-440C-AD59-273AE57FFFDD}"/>
              </c:ext>
            </c:extLst>
          </c:dPt>
          <c:dPt>
            <c:idx val="2"/>
            <c:bubble3D val="0"/>
            <c:spPr>
              <a:solidFill>
                <a:schemeClr val="accent2">
                  <a:tint val="6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C4AB-440C-AD59-273AE57FFFDD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Розвиток нових навичок у команди</c:v>
                </c:pt>
                <c:pt idx="1">
                  <c:v>Етичні виклики в роботі</c:v>
                </c:pt>
                <c:pt idx="2">
                  <c:v>Робота з новими соціальними групами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.5</c:v>
                </c:pt>
                <c:pt idx="1">
                  <c:v>2</c:v>
                </c:pt>
                <c:pt idx="2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0D-4D6B-88FB-F5AA06FC8CCE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uk-UA" dirty="0">
                <a:solidFill>
                  <a:schemeClr val="tx1"/>
                </a:solidFill>
              </a:rPr>
              <a:t>Правова та соціальні відповідальність</a:t>
            </a:r>
          </a:p>
        </c:rich>
      </c:tx>
      <c:layout>
        <c:manualLayout>
          <c:xMode val="edge"/>
          <c:yMode val="edge"/>
          <c:x val="0.17877602624449804"/>
          <c:y val="2.529135293730721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title>
    <c:autoTitleDeleted val="0"/>
    <c:plotArea>
      <c:layout>
        <c:manualLayout>
          <c:layoutTarget val="inner"/>
          <c:xMode val="edge"/>
          <c:yMode val="edge"/>
          <c:x val="8.1819031488209779E-2"/>
          <c:y val="0.12937503046734189"/>
          <c:w val="0.54388656114097633"/>
          <c:h val="0.843590192804789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Правова та соціальні відповідальність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1F7-4192-A857-D0FB9ECE05D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1F7-4192-A857-D0FB9ECE05D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31F7-4192-A857-D0FB9ECE05D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31F7-4192-A857-D0FB9ECE05D1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Проекти про-боно </c:v>
                </c:pt>
                <c:pt idx="1">
                  <c:v>Волонтерська робота</c:v>
                </c:pt>
                <c:pt idx="2">
                  <c:v>Пожертви</c:v>
                </c:pt>
                <c:pt idx="3">
                  <c:v>Створили власний фонд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5</c:v>
                </c:pt>
                <c:pt idx="1">
                  <c:v>65</c:v>
                </c:pt>
                <c:pt idx="2">
                  <c:v>15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10-4942-A674-B94799637A52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329697019642486"/>
          <c:y val="0.43204050884777223"/>
          <c:w val="0.2279692943368711"/>
          <c:h val="0.21720075684132406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22865091863517059"/>
          <c:y val="1.87499999999999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Професійне вигорання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91A-4E28-A6D3-C528FECB492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91A-4E28-A6D3-C528FECB492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F91A-4E28-A6D3-C528FECB492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F91A-4E28-A6D3-C528FECB492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F91A-4E28-A6D3-C528FECB492D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Палаємо від люті до ворогів і працюємо на Перемогу</c:v>
                </c:pt>
                <c:pt idx="1">
                  <c:v>На межі вигорання</c:v>
                </c:pt>
                <c:pt idx="2">
                  <c:v>Тримаємося</c:v>
                </c:pt>
                <c:pt idx="3">
                  <c:v>Краще, ніж рік тому</c:v>
                </c:pt>
                <c:pt idx="4">
                  <c:v>Вигорів (-ла) я, і весь мій відділ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0</c:v>
                </c:pt>
                <c:pt idx="1">
                  <c:v>16</c:v>
                </c:pt>
                <c:pt idx="2">
                  <c:v>6</c:v>
                </c:pt>
                <c:pt idx="3">
                  <c:v>2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B7-4DFB-9183-AB01436F0C71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322063648293959"/>
          <c:y val="0.28627436023622044"/>
          <c:w val="0.28936048131265601"/>
          <c:h val="0.4772579872586026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6D88A55-27A1-4726-B6BA-565570B037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F60674-C439-4C47-991B-97891DFF182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B6A92-9AC4-4241-A12D-3E444424FB26}" type="datetimeFigureOut">
              <a:rPr lang="en-IN" smtClean="0">
                <a:latin typeface="Calibri Light" panose="020F0302020204030204" pitchFamily="34" charset="0"/>
              </a:rPr>
              <a:t>14-11-2023</a:t>
            </a:fld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188F0D-C29C-4E6C-958B-8709D00BDD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F97745-075A-4829-97D2-C764BFC9ED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909FF-10D1-4B66-B741-D72AB76F569D}" type="slidenum">
              <a:rPr lang="en-IN" smtClean="0">
                <a:latin typeface="Calibri Light" panose="020F0302020204030204" pitchFamily="34" charset="0"/>
              </a:rPr>
              <a:t>‹#›</a:t>
            </a:fld>
            <a:endParaRPr lang="en-IN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3822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D710CCDE-DDDC-4977-B090-4BB893DA5E37}" type="datetimeFigureOut">
              <a:rPr lang="en-US" smtClean="0"/>
              <a:pPr/>
              <a:t>11/1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73309035-2A4D-4DEF-8CB7-7629389143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713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7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10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1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1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3.emf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70A3CAD-6999-8848-92A5-B02A4C5F2FE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3062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overlay lef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54870" y="0"/>
            <a:ext cx="5889129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</a:t>
            </a:r>
            <a:r>
              <a:rPr lang="en-US" b="0" i="0" noProof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9496" y="4719600"/>
            <a:ext cx="1064563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4F6BD1-05E3-0748-8229-5BFCF37D21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C7E7A55-842A-944F-B105-E98E505B49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78000"/>
            <a:ext cx="2627313" cy="4320000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buNone/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buNone/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buNone/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214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FB4E9C5-372D-B54F-AB35-3198E76F9B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6F08260-F124-AB45-A656-0CF6C91D54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09600"/>
            <a:ext cx="2627313" cy="34848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chemeClr val="bg1"/>
              </a:buClr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chemeClr val="bg1"/>
              </a:buClr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chemeClr val="bg1"/>
              </a:buClr>
              <a:tabLst/>
              <a:defRPr sz="1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chemeClr val="bg1"/>
              </a:buClr>
              <a:tabLst/>
              <a:defRPr sz="1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04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81D39-1145-FA4E-B683-513036C3479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E8E77E7-B238-0A4C-BBF8-DDD421A9C0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09600"/>
            <a:ext cx="2627313" cy="34848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0164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CEDFCF-642D-F141-9A43-DB7CB01B36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22B8767-9500-8248-B35C-32B6CDB014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400" y="1209600"/>
            <a:ext cx="2627313" cy="34848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chemeClr val="bg1"/>
              </a:buClr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chemeClr val="bg1"/>
              </a:buClr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chemeClr val="bg1"/>
              </a:buClr>
              <a:tabLst/>
              <a:defRPr sz="1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chemeClr val="bg1"/>
              </a:buClr>
              <a:tabLst/>
              <a:defRPr sz="1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74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E0A4A19-89A9-8948-BDDE-4E2EB8CFE8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86B91CD-B8EC-8C40-A3C6-C3EC4ECDB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400" y="1209600"/>
            <a:ext cx="2627313" cy="34848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705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4511675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419 x 843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1213" y="376238"/>
            <a:ext cx="3406776" cy="827087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</a:t>
            </a:r>
            <a:br>
              <a:rPr lang="en-US" noProof="0"/>
            </a:br>
            <a:r>
              <a:rPr lang="en-US" noProof="0"/>
              <a:t>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21212" y="1211264"/>
            <a:ext cx="4016375" cy="34845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79109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633200" y="0"/>
            <a:ext cx="45108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419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376238"/>
            <a:ext cx="3997325" cy="827999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</a:t>
            </a:r>
            <a:br>
              <a:rPr lang="en-US" noProof="0"/>
            </a:br>
            <a:r>
              <a:rPr lang="en-US" noProof="0"/>
              <a:t>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7" y="1211264"/>
            <a:ext cx="3997325" cy="34845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917A831-45CE-E541-96F2-3935F3CC6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86400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54871" y="0"/>
            <a:ext cx="5889128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Click icon to insert photo </a:t>
            </a:r>
            <a:r>
              <a:rPr lang="en-US" b="0" i="0" noProof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noProof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DB076B3-C88A-1849-AD02-099D8151BF1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9497" y="4719600"/>
            <a:ext cx="1064562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376239"/>
            <a:ext cx="2628901" cy="827999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</a:t>
            </a:r>
            <a:br>
              <a:rPr lang="en-US" noProof="0"/>
            </a:br>
            <a:r>
              <a:rPr lang="en-US" noProof="0"/>
              <a:t>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7" y="1211263"/>
            <a:ext cx="2628901" cy="3484562"/>
          </a:xfrm>
        </p:spPr>
        <p:txBody>
          <a:bodyPr/>
          <a:lstStyle>
            <a:lvl5pPr>
              <a:defRPr b="0" i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115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702219D4-C592-8940-ADFF-E19A71A469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3238" y="1211263"/>
            <a:ext cx="8125200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US" noProof="0"/>
              <a:t>Insert picture 1333 x 572 p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783748B-8051-B04A-A330-D39286CDE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8644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03237" y="1211263"/>
            <a:ext cx="5380037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/>
              <a:t>Insert picture 882 x 572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376238"/>
            <a:ext cx="7523999" cy="720000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07100" y="1211263"/>
            <a:ext cx="2633663" cy="348456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27621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gradFill>
          <a:gsLst>
            <a:gs pos="54000">
              <a:srgbClr val="277CBD"/>
            </a:gs>
            <a:gs pos="0">
              <a:srgbClr val="004F9B"/>
            </a:gs>
            <a:gs pos="100000">
              <a:srgbClr val="4EA8D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18566EE-6596-4E4C-80AE-F3AC8BE71E4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348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D58B0C-DEF4-9C4E-83F3-91ADA716B2A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52788" y="1211263"/>
            <a:ext cx="5378400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US" noProof="0"/>
              <a:t>Insert picture 882 x 572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376238"/>
            <a:ext cx="7523999" cy="720000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9" y="1211263"/>
            <a:ext cx="2628900" cy="348456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6408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396CD-AD2C-4C47-BD26-1A8BF8500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A8E6095F-3389-2E4D-BCE2-11E746829FB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2902" y="1211263"/>
            <a:ext cx="4003199" cy="2662237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buFontTx/>
              <a:buNone/>
              <a:defRPr lang="en-NL">
                <a:latin typeface="+mn-lt"/>
              </a:defRPr>
            </a:lvl1pPr>
          </a:lstStyle>
          <a:p>
            <a:pPr marL="0" lvl="0" indent="0" algn="ctr">
              <a:buNone/>
            </a:pPr>
            <a:r>
              <a:rPr lang="en-US" noProof="0"/>
              <a:t>Insert picture 657 x 437 px 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6339CC5C-F22B-304D-A447-6670052130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33200" y="1211263"/>
            <a:ext cx="4004388" cy="2662237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lang="en-NL"/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Insert picture 657 x 437 p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6D2172C-34C6-364E-BF0F-059D58EB95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2901" y="3873600"/>
            <a:ext cx="3996000" cy="8207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1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4430373-7B1A-A941-AC6D-93D4F8DFD56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33200" y="3873600"/>
            <a:ext cx="3996000" cy="8207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1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7851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8D287D3-37B4-600A-4B71-9B46F2C0715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6080312F-DC21-814A-BAB8-040151BB50E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04826" y="4884454"/>
            <a:ext cx="718767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C96B7945-F4F7-DE48-B97F-38E596BA46D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48068" y="4884454"/>
            <a:ext cx="3910151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32A57064-1C6C-D845-B014-09A3E682B6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0" y="4864360"/>
            <a:ext cx="199973" cy="15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2E323967-404E-AB4C-AC4D-0CDC89DC553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0021F8C-4E5C-3D45-BF5D-F2AF9BAC1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705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id-tone blue ">
    <p:bg>
      <p:bgPr>
        <a:gradFill>
          <a:gsLst>
            <a:gs pos="59500">
              <a:srgbClr val="0086C5"/>
            </a:gs>
            <a:gs pos="19000">
              <a:srgbClr val="00629F"/>
            </a:gs>
            <a:gs pos="100000">
              <a:srgbClr val="00A9EB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CF684170-CD15-0644-90DE-14C3E2C95BD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04826" y="4884454"/>
            <a:ext cx="718767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00883EC-6C7C-274C-AE4E-CFD99CA9C6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48068" y="4884454"/>
            <a:ext cx="3910151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792B5FA1-DF99-E442-8EBC-42C77C709B5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0" y="4864360"/>
            <a:ext cx="199973" cy="15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9F0F0025-6299-A044-A653-6354D5DBB32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13279F3-F710-B24E-9A7D-299C782C32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7D412D-3A1B-A6AE-311A-3341AE661F8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30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224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023F51-026D-5E46-9A54-3FB9875B619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025032-5E65-0840-928E-8CC0B6A814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684963E-0339-DE6B-2149-FC669A31BC0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516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496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DEDCE0C-F84F-1E4A-ACC3-F4EDF4557E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76F0F002-1EDC-2C43-90DE-583DAA8D58C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D338944-5F6B-8740-B33F-3797457441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368ED44-706B-C51E-EE87-9989F7FDDBA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39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3272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D74535-3265-D64A-81E0-73381FFC4CA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742857-CF7A-4DAC-BB95-A1A23D58FB0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96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blue ">
    <p:bg>
      <p:bgPr>
        <a:solidFill>
          <a:srgbClr val="9AD7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4587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B1CE47-33D4-D54E-A336-2A5701982D7C}"/>
              </a:ext>
            </a:extLst>
          </p:cNvPr>
          <p:cNvSpPr/>
          <p:nvPr userDrawn="1"/>
        </p:nvSpPr>
        <p:spPr>
          <a:xfrm>
            <a:off x="2771800" y="2571750"/>
            <a:ext cx="3240360" cy="1008112"/>
          </a:xfrm>
          <a:prstGeom prst="rect">
            <a:avLst/>
          </a:prstGeom>
          <a:solidFill>
            <a:srgbClr val="99D6F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47BF3EC-16CE-A141-8FF7-985EF5BC11A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5263BCAC-4CA0-974A-9D7E-258AFDAEDB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1397046-3705-01BF-B02C-1D3B348E340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89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579AC81-C363-A948-A173-2610E0CA6E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1A0CBB6-7602-DE40-B831-5A107B3A2C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8A4F92F-F20F-6F4A-80DE-BF396AB6B1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8785A6D-6D1D-FC43-B2BE-87D984BA45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2FA384E-014D-9B44-93C2-668D70BBA4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780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3D2C968-C244-0D49-AD1E-AFCB0A150AE5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9891879-481F-9042-86C3-D097F65751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6A4C9A5-017B-8DB9-94FD-B3BC5C8BEEA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58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83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  <a:latin typeface="+mj-lt"/>
              </a:defRPr>
            </a:lvl1pPr>
          </a:lstStyle>
          <a:p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313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4A82FD8-C123-6C4B-8DBE-9837122C55EC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AC5C26-E5A8-3C47-93EB-265662C7AB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7FC0814-9FE9-BAEC-8F7E-81A8789EB75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894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BAEF666-6359-5147-A05F-BA3CE32B16B7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F82B835-5158-3F45-A2C4-061F625ECB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4E03471-5FE6-D74B-9540-92B9C4D01D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B6EC986-C093-3012-80C4-F1A8ADE64F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37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15E7E6A-5494-3142-B269-7544F9FE7C8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2AEF513-DA97-9AB7-EC07-C021FD0220B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447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aqua ">
    <p:bg>
      <p:bgPr>
        <a:solidFill>
          <a:srgbClr val="7EDD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811A9D1-DBF1-C14E-991F-72D578D7466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D900186-F920-6143-855B-886099E8AD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8104C70-7B52-5C02-6B06-274CD89E8D0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56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5BBF4A6-8DDC-2E4C-96CF-51EBD1E6D01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FB8A8EB-436C-6845-86B7-D6FDC99FC0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AE0E691-8886-0E40-9EA4-B3F26CBD07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D863537-6FEA-BE40-BF38-7FB3EB702F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128E57D-867F-FB4E-9580-AC8A24BC5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586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3029DE3-64CC-1E40-9F25-0CCA08B61EA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4CEB893-B518-6041-B6CB-4CBC6971C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C689AF3-6C90-0CDC-E836-0C24FE8FDF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92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915394F-6FD1-B44A-8BC5-25A08530D6B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115E60C-9A7F-7F49-933E-B7F92FC68E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C4B2580-6DF8-3D54-96AD-5F1A320E08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099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2B1E0AD-84FA-5242-9A46-D758468C9A8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0D12D96-2291-5F4D-BBAF-D4B2125B99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528F0F8-E9F6-9CEB-C84B-311CC58AB62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85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EDD577C-F99F-FA4F-9FB5-A0C6AA0A7B9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EDAE1C4-1056-C10E-1388-2AB6B6BE177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340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green ">
    <p:bg>
      <p:bgPr>
        <a:solidFill>
          <a:srgbClr val="A0DA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57255F6-8C21-744F-8D92-C06DDC109BEC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3C389B14-2D49-EE42-981F-30A66F75FB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6131495-638C-F5D6-2D64-F6AFCA720C1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354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3413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BA8BC5E-E6A4-8645-A260-7CADE8CBCF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C02D2E6-100E-1F4B-9A7C-96F5646577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51265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8AE024E-D1DE-C94C-9CD8-854D4BCAA9B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908D519-DB29-5745-B29A-73745ED259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7EDB387-9FED-7D4A-9D4B-F0FEF66D69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CE77903-9A5C-CD4A-BFFA-94D952A945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C1FB469-169F-6145-9457-2AD3FA7D03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2376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FA0C0B3-F2D9-E64F-8BD1-FB651108C6E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B368F29-A0F3-CB41-8BE8-8BBB19E488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A663F3B-5DB6-E0C6-15D0-157A184A1EA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09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EB9AEEA-C1D8-F744-818F-1B46877C98D0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D88AF71-7FE9-C34C-BA7E-DCB2552480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CE8D156-B882-3FED-2C04-EE127DDCADC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582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0604DC70-6B27-494D-96E0-FD89F9EE6A3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B597171-0B66-7940-8E37-08BEE9007F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6C7E9E-D2B1-539E-BA47-54F2314FE41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438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orange">
    <p:bg>
      <p:bgPr>
        <a:solidFill>
          <a:srgbClr val="DE7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46D74D1-4655-1543-8CF6-6BF7823C4521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ED1728-BFCC-F893-8D35-0E5FD7865BB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743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orange ">
    <p:bg>
      <p:bgPr>
        <a:solidFill>
          <a:srgbClr val="FDD3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C94CFF-D91A-4F41-8BA6-E95F1752CCD8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0FFAD38-CDC2-B446-A69B-6AE99B7F17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F13EECB-0CE4-9E72-E7DF-63E5EAAE234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968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2A7186A-964A-EB4F-9789-044D19D95B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127F79B-1E65-DD48-B267-7AFEB6BBE2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20A9773-912D-6D4A-A0AE-90D94C6C6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340A695-565C-C043-A4B4-C207135F1A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239C626-9C15-2643-A855-1774CFA000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9999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D31B981-DD0B-5D4C-8417-F2DDB9BFD56A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D286636-2880-ED4E-BBAA-D8B224CAD9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D019F4-96B4-AFC9-ED94-D5DD1F8EC90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6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E1BA89A-E5A3-F641-B25E-4A811196930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01DB0F5-C84F-CC4F-AF5C-9DB1CBA157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33D64B-CA94-CFC3-9042-45B1EDD2FB3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26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C348877-476A-6B4C-A12D-64D2709CD87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9AFBC0C-67B5-B845-B0A6-CCF7CFE846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EFDC557-0DDF-D51F-3618-259FD5545C9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93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829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42677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E7A9680-8254-064D-82E7-A42090B7D70A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225878F-842C-2E50-624B-37541823BB5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30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magenta ">
    <p:bg>
      <p:bgPr>
        <a:solidFill>
          <a:srgbClr val="EABE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232576B3-A440-3948-B537-27709157EB01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B673564-5C8F-924B-865D-42FDB7792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D4764AC-7A43-E196-A04A-7C0DEEA99AD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88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BB80A2C-1391-9F42-89CA-3283D012270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725152D-96F4-C548-8A29-98FC765774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A72A02-B72F-AA46-A1B9-972C4E4911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E3F0DA-D8A1-4C4E-B6E8-DA8D240EF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CDE3264-E045-0641-A1A3-A1E80BC0E4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221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CAD6624-CFD3-DE4F-9CE8-5EA1C453A87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F89A81F-5DBF-634D-A753-E2383D9012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E6007B4-E473-1499-C3B5-109F7BC7A6F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009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5406B4-D089-FF4F-8963-A2FC70C89784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A523F0ED-CB93-DE48-AFB9-A53AD55835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23CFE2B-2F2C-50ED-2EF1-9B0116147C0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728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purple 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FBDA501-D362-2A4F-A6ED-4245831FDEA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43130FA-B170-8448-BE52-8B7BFBDA9E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AB4A9B-92E1-AD26-5211-939A54A060E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792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D822C79-3554-5A4B-9209-FC2B5267AA88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ED1DD5D-2DF6-8BD9-228F-FA1D082CD88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441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purple">
    <p:bg>
      <p:bgPr>
        <a:solidFill>
          <a:srgbClr val="C1A0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431FD78-9D96-9849-AB18-46CC54BF0B00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7567609-5959-4141-B4DA-A1F5F678EF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F11A81C-8570-B7B5-F755-50CF50D32FB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84464" y="219456"/>
            <a:ext cx="361188" cy="46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53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3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50CE0E-F179-458C-AEB1-36BDA9AF4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378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50CE0E-F179-458C-AEB1-36BDA9AF4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E540E8-853F-49F5-AAA0-593FDDFCB4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C2BE2D-951F-4D2E-A248-5E79BA206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me period, data scenari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41B2E9-68F4-4A38-9D55-0A18643918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058F3F5-669F-4BEE-968A-F64356A6CD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ontent, unit measurement</a:t>
            </a:r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C4A983AC-6F9B-471B-87E8-D4505A31FE4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0FB69-E866-4F1C-87F8-ADA6A511DB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4456" y="948267"/>
            <a:ext cx="8955089" cy="377613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A3B99A-F127-9346-BD1E-5E71BD5CE196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A0BD20F-1F50-6A4D-99F6-9DA774AC2A4E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5230213-6661-3D4D-8989-3D83676989A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6442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4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B418BD-1930-49DC-9A84-017861466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7532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B418BD-1930-49DC-9A84-017861466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94897C-9089-4E46-A4DC-D9375AE2C9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24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C9809-688D-4100-A0FE-DB6EB41BC2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164E04-503E-48E0-8056-F4A846A8D60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E3274A-0D5B-4B5E-963A-4AD0C038490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073504F8-A36C-4A96-9962-DBD59D731B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7E0385-9465-469B-9CA7-ABB0EB4E48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948268"/>
            <a:ext cx="8955089" cy="377613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93071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orient="horz" pos="534">
          <p15:clr>
            <a:srgbClr val="FBAE40"/>
          </p15:clr>
        </p15:guide>
        <p15:guide id="3" pos="5697">
          <p15:clr>
            <a:srgbClr val="FBAE40"/>
          </p15:clr>
        </p15:guide>
        <p15:guide id="4" orient="horz" pos="393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766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7743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C896B7-FACB-4D7B-A4F4-8CE484CBA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6754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C896B7-FACB-4D7B-A4F4-8CE484CBA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DAA302-4954-4070-845B-E3247AC801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913354F-6E59-49EF-93BE-EAF0DC89F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171BA3-E603-4FDD-B59F-EF9A1D5D5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D21293-C0ED-4019-808D-8F22DD7C37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DAF2D5-0296-4D0F-805B-B7D70457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0E6CF-65D4-44D5-BB75-32FC616FF2E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B535E-80AA-4B5F-B505-6AE4D82B205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79868-A62C-4FF8-88BB-692DFBB3AF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8CA4B699-1B76-42B1-970D-8B5F927F5D43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6293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no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47BB81-5ED6-4620-B6AB-9F7CAE2CB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06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47BB81-5ED6-4620-B6AB-9F7CAE2CB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4C154A-EDEF-494B-95FD-05C9428083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B18CF-CA9C-4A69-B7C8-A4C94FF29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AD015-F4ED-4FC4-A52C-B985B1A9C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7AFA2-6720-468E-9F40-2499D9FB7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50CCBDD5-A078-4F63-AC4E-A4BB95B75007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7625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73966E-CFE3-49CC-B52A-C5B637544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766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73966E-CFE3-49CC-B52A-C5B637544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FC3CDD-A9EE-4A29-BDB5-DDD9F2931D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BB6E0D-3F39-440A-BD9D-79E5F24876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E28750-0E4B-4D33-9132-AD81766D92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C5D1072-8A57-4985-9114-7AB80099D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22D0EE4-A772-43CA-87B6-4AAA26C16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2124D-0640-4AE6-AECC-F4880DA1C39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E07C9-1AA8-427A-8D3F-F90DA800C5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797C04-425D-49F7-8B2B-D4A178C161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F4A6D036-B440-4848-AD09-10D95A6851E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8D6D76-355E-455E-9573-01D135D9D9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55361" y="948268"/>
            <a:ext cx="2694184" cy="377613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45908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039C25-38EE-4409-8846-AD3780FDA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0625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039C25-38EE-4409-8846-AD3780FD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31B7F0-8291-45AD-B310-18C6F32CA1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66FA14-A13E-4C88-AA9E-2E47483D50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Unit of measuremen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8432D-6F74-40F0-A171-A0B5FD017F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eriod, data scenario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023FC6-6139-470D-844E-BC0D615613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Reporting entity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569437-C2DB-4F3A-9508-BB720F4BFE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&amp;L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807E-C4CE-4AA4-8ED9-448491339E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8CB85-32FF-48FD-9896-C7B7E8F6ED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0397-EA1F-41BE-8CB8-EE87F91FA0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C539D5CE-18F8-4235-A29E-31342295EE0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6F1E93-15E1-4055-8C44-6E1B52D56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3528059"/>
            <a:ext cx="3817122" cy="119634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0393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DB6A95A-5393-7FFC-22FD-1FF73C4F7A6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998976" y="1842516"/>
            <a:ext cx="1146048" cy="1458468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421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07504" y="4677984"/>
            <a:ext cx="892899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1" tIns="40815" rIns="81631" bIns="40815" rtlCol="0" anchor="ctr"/>
          <a:lstStyle/>
          <a:p>
            <a:pPr algn="ctr"/>
            <a:endParaRPr lang="en-US" b="0" i="0" noProof="0">
              <a:latin typeface="Calibri Light" panose="020F0302020204030204" pitchFamily="34" charset="0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D2D99289-1788-4094-95D8-16BE8E42F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8103" y="1835837"/>
            <a:ext cx="1144502" cy="145495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7736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F14B76D6-1E80-FE45-861E-898D9060FB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3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90000"/>
              </a:lnSpc>
              <a:buClr>
                <a:srgbClr val="00629F"/>
              </a:buClr>
              <a:buNone/>
              <a:tabLst/>
              <a:defRPr sz="3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buNone/>
              <a:tabLst/>
              <a:defRPr sz="30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buNone/>
              <a:tabLst/>
              <a:defRPr sz="2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8280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8386B580-0255-B14B-8CC7-759D3E4E7726}"/>
              </a:ext>
            </a:extLst>
          </p:cNvPr>
          <p:cNvSpPr>
            <a:spLocks noGrp="1"/>
          </p:cNvSpPr>
          <p:nvPr>
            <p:ph type="media" sz="quarter" idx="24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bIns="503999" anchor="ctr"/>
          <a:lstStyle>
            <a:lvl1pPr algn="ctr">
              <a:buNone/>
              <a:defRPr/>
            </a:lvl1pPr>
          </a:lstStyle>
          <a:p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A9D1465-550E-0E4E-B1C9-13DDC9BD1E1F}"/>
              </a:ext>
            </a:extLst>
          </p:cNvPr>
          <p:cNvSpPr txBox="1">
            <a:spLocks/>
          </p:cNvSpPr>
          <p:nvPr userDrawn="1"/>
        </p:nvSpPr>
        <p:spPr>
          <a:xfrm>
            <a:off x="7889640" y="4719600"/>
            <a:ext cx="1063904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39554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photo 1500 x 843 </a:t>
            </a:r>
            <a:r>
              <a:rPr lang="en-US" noProof="0" dirty="0" err="1"/>
              <a:t>px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8510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noProof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FBD5542-7C18-554E-8C38-9C18824A0F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5856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1948553763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A5D2E64-2649-4557-8200-E78DF2A57EFC}"/>
              </a:ext>
            </a:extLst>
          </p:cNvPr>
          <p:cNvPicPr>
            <a:picLocks noChangeAspect="1"/>
          </p:cNvPicPr>
          <p:nvPr userDrawn="1"/>
        </p:nvPicPr>
        <p:blipFill>
          <a:blip r:embed="rId7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7297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826" y="4884454"/>
            <a:ext cx="718767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48068" y="4884454"/>
            <a:ext cx="3910151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0" y="4864360"/>
            <a:ext cx="199973" cy="150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3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94B2A6A-BE43-1D4A-8330-3072C7FC58B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6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7966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  <p:sldLayoutId id="2147484200" r:id="rId9"/>
    <p:sldLayoutId id="2147484201" r:id="rId10"/>
    <p:sldLayoutId id="2147484202" r:id="rId11"/>
    <p:sldLayoutId id="2147484203" r:id="rId12"/>
    <p:sldLayoutId id="2147484204" r:id="rId13"/>
    <p:sldLayoutId id="2147484205" r:id="rId14"/>
    <p:sldLayoutId id="2147484206" r:id="rId15"/>
    <p:sldLayoutId id="2147484207" r:id="rId16"/>
    <p:sldLayoutId id="2147484208" r:id="rId17"/>
    <p:sldLayoutId id="2147484209" r:id="rId18"/>
    <p:sldLayoutId id="2147484210" r:id="rId19"/>
    <p:sldLayoutId id="2147484211" r:id="rId20"/>
    <p:sldLayoutId id="2147484212" r:id="rId21"/>
    <p:sldLayoutId id="2147484213" r:id="rId22"/>
    <p:sldLayoutId id="2147484214" r:id="rId23"/>
    <p:sldLayoutId id="2147484215" r:id="rId24"/>
    <p:sldLayoutId id="2147484216" r:id="rId25"/>
    <p:sldLayoutId id="2147484217" r:id="rId26"/>
    <p:sldLayoutId id="2147484218" r:id="rId27"/>
    <p:sldLayoutId id="2147484219" r:id="rId28"/>
    <p:sldLayoutId id="2147484220" r:id="rId29"/>
    <p:sldLayoutId id="2147484221" r:id="rId30"/>
    <p:sldLayoutId id="2147484222" r:id="rId31"/>
    <p:sldLayoutId id="2147484223" r:id="rId32"/>
    <p:sldLayoutId id="2147484224" r:id="rId33"/>
    <p:sldLayoutId id="2147484225" r:id="rId34"/>
    <p:sldLayoutId id="2147484226" r:id="rId35"/>
    <p:sldLayoutId id="2147484227" r:id="rId36"/>
    <p:sldLayoutId id="2147484228" r:id="rId37"/>
    <p:sldLayoutId id="2147484229" r:id="rId38"/>
    <p:sldLayoutId id="2147484230" r:id="rId39"/>
    <p:sldLayoutId id="2147484231" r:id="rId40"/>
    <p:sldLayoutId id="2147484232" r:id="rId41"/>
    <p:sldLayoutId id="2147484233" r:id="rId42"/>
    <p:sldLayoutId id="2147484234" r:id="rId43"/>
    <p:sldLayoutId id="2147484235" r:id="rId44"/>
    <p:sldLayoutId id="2147484236" r:id="rId45"/>
    <p:sldLayoutId id="2147484237" r:id="rId46"/>
    <p:sldLayoutId id="2147484238" r:id="rId47"/>
    <p:sldLayoutId id="2147484239" r:id="rId48"/>
    <p:sldLayoutId id="2147484240" r:id="rId49"/>
    <p:sldLayoutId id="2147484241" r:id="rId50"/>
    <p:sldLayoutId id="2147484242" r:id="rId51"/>
    <p:sldLayoutId id="2147484243" r:id="rId52"/>
    <p:sldLayoutId id="2147484244" r:id="rId53"/>
    <p:sldLayoutId id="2147484245" r:id="rId54"/>
    <p:sldLayoutId id="2147484246" r:id="rId55"/>
    <p:sldLayoutId id="2147484247" r:id="rId56"/>
    <p:sldLayoutId id="2147484248" r:id="rId57"/>
    <p:sldLayoutId id="2147484249" r:id="rId58"/>
    <p:sldLayoutId id="2147484250" r:id="rId59"/>
    <p:sldLayoutId id="2147484251" r:id="rId60"/>
    <p:sldLayoutId id="2147484252" r:id="rId61"/>
    <p:sldLayoutId id="2147484253" r:id="rId62"/>
    <p:sldLayoutId id="2147484254" r:id="rId63"/>
    <p:sldLayoutId id="2147484255" r:id="rId64"/>
    <p:sldLayoutId id="2147484256" r:id="rId65"/>
  </p:sldLayoutIdLst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2400" kern="1200" smtClean="0">
          <a:solidFill>
            <a:srgbClr val="00629F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32004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2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429768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05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59436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0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701675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A4A3A4"/>
          </p15:clr>
        </p15:guide>
        <p15:guide id="2" pos="5441">
          <p15:clr>
            <a:srgbClr val="A4A3A4"/>
          </p15:clr>
        </p15:guide>
        <p15:guide id="4" orient="horz" pos="237">
          <p15:clr>
            <a:srgbClr val="A4A3A4"/>
          </p15:clr>
        </p15:guide>
        <p15:guide id="5" orient="horz" pos="690">
          <p15:clr>
            <a:srgbClr val="A4A3A4"/>
          </p15:clr>
        </p15:guide>
        <p15:guide id="6" orient="horz" pos="763">
          <p15:clr>
            <a:srgbClr val="A4A3A4"/>
          </p15:clr>
        </p15:guide>
        <p15:guide id="7" orient="horz" pos="2958">
          <p15:clr>
            <a:srgbClr val="A4A3A4"/>
          </p15:clr>
        </p15:guide>
        <p15:guide id="12" pos="2911">
          <p15:clr>
            <a:srgbClr val="A4A3A4"/>
          </p15:clr>
        </p15:guide>
        <p15:guide id="14" pos="284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8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66E4FAA-E77A-2E82-177F-C5DF34AFEC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uk-UA" dirty="0"/>
              <a:t>Анна Жарова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7F0099C-FF09-E2A8-4233-FD11F0251D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XI </a:t>
            </a:r>
            <a:r>
              <a:rPr lang="uk-UA" dirty="0"/>
              <a:t>Щорічний форум юрисконсультів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AAC2296-D838-9697-9D4F-CB27A36A07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uk-UA" dirty="0"/>
              <a:t>15 листопада 2023 р.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508DEA3-F203-79B6-1F28-27651895FF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b="1" dirty="0"/>
              <a:t>Виклики для юридичної служби в нових умовах</a:t>
            </a:r>
            <a:endParaRPr lang="uk-UA" b="1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760090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83BA4E-A00A-060B-2F5A-7F49C057328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2</a:t>
            </a:fld>
            <a:endParaRPr lang="en-US" noProof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2835D46-A791-7480-AD76-10E28E8A25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9163744"/>
              </p:ext>
            </p:extLst>
          </p:nvPr>
        </p:nvGraphicFramePr>
        <p:xfrm>
          <a:off x="182120" y="239212"/>
          <a:ext cx="7962302" cy="4625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67363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DA2F98-1F94-16D5-3FA3-33F7D25DD39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3</a:t>
            </a:fld>
            <a:endParaRPr lang="en-US" noProof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98F7B53-B457-C551-D05E-7BF4B45F8E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1864402"/>
              </p:ext>
            </p:extLst>
          </p:nvPr>
        </p:nvGraphicFramePr>
        <p:xfrm>
          <a:off x="302394" y="267494"/>
          <a:ext cx="7870005" cy="47044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75331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583CBF-C341-BED8-FA63-C42617F6686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4</a:t>
            </a:fld>
            <a:endParaRPr lang="en-US" noProof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72DC946-EA11-A3EE-0654-2B3E0990FF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5157755"/>
              </p:ext>
            </p:extLst>
          </p:nvPr>
        </p:nvGraphicFramePr>
        <p:xfrm>
          <a:off x="200872" y="195487"/>
          <a:ext cx="7899520" cy="4786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68678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B75731-12F7-BAC9-2DB7-C9471BFBCA3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noProof="0" smtClean="0"/>
              <a:pPr/>
              <a:t>5</a:t>
            </a:fld>
            <a:endParaRPr lang="en-US" noProof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F4B44DA-5274-EB64-1FFE-491E5673C2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1227043"/>
              </p:ext>
            </p:extLst>
          </p:nvPr>
        </p:nvGraphicFramePr>
        <p:xfrm>
          <a:off x="282106" y="248143"/>
          <a:ext cx="7818286" cy="4647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31349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76391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3.43900000000000005684E+00&quot;&gt;&lt;m_msothmcolidx val=&quot;0&quot;/&gt;&lt;m_rgb r=&quot;A3&quot; g=&quot;D9&quot; b=&quot;D9&quot;/&gt;&lt;m_nBrightness val=&quot;0&quot;/&gt;&lt;/elem&gt;&lt;elem m_fUsage=&quot;1.41682643648100059508E+00&quot;&gt;&lt;m_msothmcolidx val=&quot;0&quot;/&gt;&lt;m_rgb r=&quot;9E&quot; g=&quot;2D&quot; b=&quot;B1&quot;/&gt;&lt;m_nBrightness val=&quot;0&quot;/&gt;&lt;/elem&gt;&lt;elem m_fUsage=&quot;1.20667841354961047351E+00&quot;&gt;&lt;m_msothmcolidx val=&quot;0&quot;/&gt;&lt;m_rgb r=&quot;EC&quot; g=&quot;43&quot; b=&quot;71&quot;/&gt;&lt;m_nBrightness val=&quot;0&quot;/&gt;&lt;/elem&gt;&lt;elem m_fUsage=&quot;8.80119440100000316463E-01&quot;&gt;&lt;m_msothmcolidx val=&quot;0&quot;/&gt;&lt;m_rgb r=&quot;00&quot; g=&quot;8E&quot; b=&quot;CC&quot;/&gt;&lt;m_nBrightness val=&quot;0&quot;/&gt;&lt;/elem&gt;&lt;elem m_fUsage=&quot;6.84653792832900287557E-01&quot;&gt;&lt;m_msothmcolidx val=&quot;0&quot;/&gt;&lt;m_rgb r=&quot;9E&quot; g=&quot;2D&quot; b=&quot;11&quot;/&gt;&lt;m_nBrightness val=&quot;0&quot;/&gt;&lt;/elem&gt;&lt;elem m_fUsage=&quot;3.13810596090000171188E-01&quot;&gt;&lt;m_msothmcolidx val=&quot;0&quot;/&gt;&lt;m_rgb r=&quot;09&quot; g=&quot;A3&quot; b=&quot;FF&quot;/&gt;&lt;m_nBrightness val=&quot;0&quot;/&gt;&lt;/elem&gt;&lt;elem m_fUsage=&quot;2.05891132094649098594E-01&quot;&gt;&lt;m_msothmcolidx val=&quot;0&quot;/&gt;&lt;m_rgb r=&quot;D3&quot; g=&quot;E8&quot; b=&quot;E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q1yE6hRTGv_ga4GbII8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LJhckSGCxmH17d0fW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EePDZRDCiGs6qA7F.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VFSuEQQups0ulDuF19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0pDCr0Q2Wp2L0wENceh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97NhnRtGIQipb0wENx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resentation template Jan21">
  <a:themeElements>
    <a:clrScheme name="Custom 8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7CC"/>
      </a:accent1>
      <a:accent2>
        <a:srgbClr val="269A91"/>
      </a:accent2>
      <a:accent3>
        <a:srgbClr val="16973A"/>
      </a:accent3>
      <a:accent4>
        <a:srgbClr val="DE7C00"/>
      </a:accent4>
      <a:accent5>
        <a:srgbClr val="D10077"/>
      </a:accent5>
      <a:accent6>
        <a:srgbClr val="8345BA"/>
      </a:accent6>
      <a:hlink>
        <a:srgbClr val="00619F"/>
      </a:hlink>
      <a:folHlink>
        <a:srgbClr val="00629F"/>
      </a:folHlink>
    </a:clrScheme>
    <a:fontScheme name="Custom 12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presentation_template_16x9_nov18_1112.pptx" id="{BEC723CF-679C-4F78-8FDC-5F75600573FC}" vid="{82C35204-7926-405E-85BB-7292904EC94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TemplateConfiguration><![CDATA[{"slideVersion":1,"isValidatorEnabled":false,"isLocked":false,"elementsMetadata":[],"slideId":"638006610450768800","enableDocumentContentUpdater":false,"version":"2.0"}]]></TemplafySlideTemplateConfiguration>
</file>

<file path=customXml/item2.xml><?xml version="1.0" encoding="utf-8"?>
<TemplafyFormConfiguration><![CDATA[{"formFields":[],"formDataEntries":[]}]]></TemplafyFormConfigur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3CCF29AC71D4428C978BA42A6A441C" ma:contentTypeVersion="31" ma:contentTypeDescription="Een nieuw document maken." ma:contentTypeScope="" ma:versionID="08fcdbeb2871c85628b191b60714f011">
  <xsd:schema xmlns:xsd="http://www.w3.org/2001/XMLSchema" xmlns:xs="http://www.w3.org/2001/XMLSchema" xmlns:p="http://schemas.microsoft.com/office/2006/metadata/properties" xmlns:ns1="http://schemas.microsoft.com/sharepoint/v3" xmlns:ns2="aacb7df8-672f-46f2-977f-893ce5cef86b" xmlns:ns3="22a3f1e7-1ad8-4567-967d-700183da1d1b" targetNamespace="http://schemas.microsoft.com/office/2006/metadata/properties" ma:root="true" ma:fieldsID="24d34939b9d8ca4ebc6c79201e24bdec" ns1:_="" ns2:_="" ns3:_="">
    <xsd:import namespace="http://schemas.microsoft.com/sharepoint/v3"/>
    <xsd:import namespace="aacb7df8-672f-46f2-977f-893ce5cef86b"/>
    <xsd:import namespace="22a3f1e7-1ad8-4567-967d-700183da1d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Bedrijf" minOccurs="0"/>
                <xsd:element ref="ns2:Taal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Eigenschappen van het geïntegreerd beleid voor naleving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Actie van de gebruikersinterface van het geïntegreerd beleid voor naleving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cb7df8-672f-46f2-977f-893ce5cef8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Bedrijf" ma:index="20" nillable="true" ma:displayName="Bedrijf" ma:internalName="Bedrijf">
      <xsd:simpleType>
        <xsd:restriction base="dms:Text">
          <xsd:maxLength value="255"/>
        </xsd:restriction>
      </xsd:simpleType>
    </xsd:element>
    <xsd:element name="Taal" ma:index="21" nillable="true" ma:displayName="Taal" ma:format="Dropdown" ma:internalName="Taal">
      <xsd:simpleType>
        <xsd:restriction base="dms:Text">
          <xsd:maxLength value="255"/>
        </xsd:restriction>
      </xsd:simpleType>
    </xsd:element>
    <xsd:element name="MediaServiceAutoKeyPoints" ma:index="2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a3f1e7-1ad8-4567-967d-700183da1d1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al xmlns="aacb7df8-672f-46f2-977f-893ce5cef86b" xsi:nil="true"/>
    <_ip_UnifiedCompliancePolicyProperties xmlns="http://schemas.microsoft.com/sharepoint/v3" xsi:nil="true"/>
    <Bedrijf xmlns="aacb7df8-672f-46f2-977f-893ce5cef86b" xsi:nil="true"/>
  </documentManagement>
</p:properties>
</file>

<file path=customXml/item5.xml><?xml version="1.0" encoding="utf-8"?>
<TemplafyTemplateConfiguration><![CDATA[{"elementsMetadata":[],"transformationConfigurations":[],"templateName":"Blank presentation","templateDescription":"","enableDocumentContentUpdater":false,"version":"2.0"}]]></TemplafyTemplateConfiguration>
</file>

<file path=customXml/item6.xml><?xml version="1.0" encoding="utf-8"?>
<TemplafySlideTemplateConfiguration><![CDATA[{"slideVersion":1,"isValidatorEnabled":false,"isLocked":false,"elementsMetadata":[],"slideId":"638006610450748055","enableDocumentContentUpdater":false,"version":"2.0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slideVersion":1,"isValidatorEnabled":false,"isLocked":false,"elementsMetadata":[],"slideId":"638006610450757891","enableDocumentContentUpdater":false,"version":"2.0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D8CE77F4-195C-4E5F-A364-E1D1576A1579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B1EC3D4C-2FC3-4A16-BCCB-145B8F234F34}">
  <ds:schemaRefs/>
</ds:datastoreItem>
</file>

<file path=customXml/itemProps11.xml><?xml version="1.0" encoding="utf-8"?>
<ds:datastoreItem xmlns:ds="http://schemas.openxmlformats.org/officeDocument/2006/customXml" ds:itemID="{9231BC4A-B9EB-4210-B5A3-3F4E2F64D589}">
  <ds:schemaRefs/>
</ds:datastoreItem>
</file>

<file path=customXml/itemProps2.xml><?xml version="1.0" encoding="utf-8"?>
<ds:datastoreItem xmlns:ds="http://schemas.openxmlformats.org/officeDocument/2006/customXml" ds:itemID="{961BB479-C8AA-43D6-A6CB-1C385FA0DCA1}">
  <ds:schemaRefs/>
</ds:datastoreItem>
</file>

<file path=customXml/itemProps3.xml><?xml version="1.0" encoding="utf-8"?>
<ds:datastoreItem xmlns:ds="http://schemas.openxmlformats.org/officeDocument/2006/customXml" ds:itemID="{1FA27FDE-D1A4-4286-A0E8-F79EE6E4F4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acb7df8-672f-46f2-977f-893ce5cef86b"/>
    <ds:schemaRef ds:uri="22a3f1e7-1ad8-4567-967d-700183da1d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A4C6DCBC-A10C-4473-AF48-2D79BA76D9DB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aacb7df8-672f-46f2-977f-893ce5cef86b"/>
  </ds:schemaRefs>
</ds:datastoreItem>
</file>

<file path=customXml/itemProps5.xml><?xml version="1.0" encoding="utf-8"?>
<ds:datastoreItem xmlns:ds="http://schemas.openxmlformats.org/officeDocument/2006/customXml" ds:itemID="{F537D632-4F2A-497D-93F3-CB16D6200A3E}">
  <ds:schemaRefs/>
</ds:datastoreItem>
</file>

<file path=customXml/itemProps6.xml><?xml version="1.0" encoding="utf-8"?>
<ds:datastoreItem xmlns:ds="http://schemas.openxmlformats.org/officeDocument/2006/customXml" ds:itemID="{25E4E16E-FA08-41AF-A12E-A5ABC1B4A0C4}">
  <ds:schemaRefs/>
</ds:datastoreItem>
</file>

<file path=customXml/itemProps7.xml><?xml version="1.0" encoding="utf-8"?>
<ds:datastoreItem xmlns:ds="http://schemas.openxmlformats.org/officeDocument/2006/customXml" ds:itemID="{08C85089-257A-4CC3-9CAF-81A36FC43ADD}">
  <ds:schemaRefs/>
</ds:datastoreItem>
</file>

<file path=customXml/itemProps8.xml><?xml version="1.0" encoding="utf-8"?>
<ds:datastoreItem xmlns:ds="http://schemas.openxmlformats.org/officeDocument/2006/customXml" ds:itemID="{C61B2ADD-D3AB-4E02-BA27-26E400E8D55A}">
  <ds:schemaRefs/>
</ds:datastoreItem>
</file>

<file path=customXml/itemProps9.xml><?xml version="1.0" encoding="utf-8"?>
<ds:datastoreItem xmlns:ds="http://schemas.openxmlformats.org/officeDocument/2006/customXml" ds:itemID="{4DAB6C55-B5BB-4F98-8291-3352F3A4A21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2</Words>
  <Application>Microsoft Office PowerPoint</Application>
  <PresentationFormat>On-screen Show (16:9)</PresentationFormat>
  <Paragraphs>12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OpenSans</vt:lpstr>
      <vt:lpstr>1_Presentation template Jan21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osay meulemans</dc:creator>
  <cp:lastModifiedBy>Zharova, Anna</cp:lastModifiedBy>
  <cp:revision>1115</cp:revision>
  <dcterms:created xsi:type="dcterms:W3CDTF">2023-11-14T07:33:18Z</dcterms:created>
  <dcterms:modified xsi:type="dcterms:W3CDTF">2023-11-14T08:3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3CCF29AC71D4428C978BA42A6A441C</vt:lpwstr>
  </property>
  <property fmtid="{D5CDD505-2E9C-101B-9397-08002B2CF9AE}" pid="3" name="TemplafyTimeStamp">
    <vt:lpwstr>2022-10-06T13:50:45</vt:lpwstr>
  </property>
  <property fmtid="{D5CDD505-2E9C-101B-9397-08002B2CF9AE}" pid="4" name="TemplafyTenantId">
    <vt:lpwstr>philips</vt:lpwstr>
  </property>
  <property fmtid="{D5CDD505-2E9C-101B-9397-08002B2CF9AE}" pid="5" name="TemplafyTemplateId">
    <vt:lpwstr>637509714499408645</vt:lpwstr>
  </property>
  <property fmtid="{D5CDD505-2E9C-101B-9397-08002B2CF9AE}" pid="6" name="TemplafyUserProfileId">
    <vt:lpwstr>637678885891493172</vt:lpwstr>
  </property>
  <property fmtid="{D5CDD505-2E9C-101B-9397-08002B2CF9AE}" pid="7" name="TemplafyFromBlank">
    <vt:bool>false</vt:bool>
  </property>
</Properties>
</file>